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D9F10145-829E-4661-A525-184CE8FBD36A}">
          <p14:sldIdLst>
            <p14:sldId id="2147475173"/>
            <p14:sldId id="2147475174"/>
            <p14:sldId id="2147475175"/>
            <p14:sldId id="2147475176"/>
            <p14:sldId id="2147475177"/>
            <p14:sldId id="2147475178"/>
            <p14:sldId id="2147475179"/>
            <p14:sldId id="2147475180"/>
            <p14:sldId id="2147475181"/>
          </p14:sldIdLst>
        </p14:section>
        <p14:section name="Brackets By Segment" id="{A5668D47-9E09-46DD-95D9-95D44E144FC2}">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789113093873775</c:v>
                </c:pt>
                <c:pt idx="2">
                  <c:v>0.01869235590890642</c:v>
                </c:pt>
                <c:pt idx="3">
                  <c:v>0.014973046853693918</c:v>
                </c:pt>
                <c:pt idx="4">
                  <c:v>0.0296352790263233</c:v>
                </c:pt>
                <c:pt idx="5">
                  <c:v>0.016049321926581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4548842588316658</c:v>
                </c:pt>
                <c:pt idx="3">
                  <c:v>0.002358121499940534</c:v>
                </c:pt>
                <c:pt idx="4">
                  <c:v>0.007851581950273617</c:v>
                </c:pt>
                <c:pt idx="5">
                  <c:v>0.003469092996747987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039309365006413</c:v>
                </c:pt>
                <c:pt idx="2">
                  <c:v>0.004791662941317081</c:v>
                </c:pt>
                <c:pt idx="3">
                  <c:v>0.0354061821339793</c:v>
                </c:pt>
                <c:pt idx="4">
                  <c:v>0.06278721437539245</c:v>
                </c:pt>
                <c:pt idx="5">
                  <c:v>0.0065999730681890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543825240303001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823359443441819</c:v>
                </c:pt>
                <c:pt idx="1">
                  <c:v>0.0026845897198844925</c:v>
                </c:pt>
                <c:pt idx="2">
                  <c:v>0.028073858028257813</c:v>
                </c:pt>
                <c:pt idx="3">
                  <c:v>0.03713326433375281</c:v>
                </c:pt>
                <c:pt idx="4">
                  <c:v>0.1116906721112513</c:v>
                </c:pt>
                <c:pt idx="5">
                  <c:v>0.1118097055843384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2376604047324943</c:v>
                </c:pt>
                <c:pt idx="1">
                  <c:v>0.012775790887461126</c:v>
                </c:pt>
                <c:pt idx="2">
                  <c:v>0.04090685169043861</c:v>
                </c:pt>
                <c:pt idx="3">
                  <c:v>0.09382667552498151</c:v>
                </c:pt>
                <c:pt idx="4">
                  <c:v>0.03991363997994867</c:v>
                </c:pt>
                <c:pt idx="5">
                  <c:v>0.00183048163913846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387279546934154</c:v>
                </c:pt>
                <c:pt idx="3">
                  <c:v>0.023868557174213642</c:v>
                </c:pt>
                <c:pt idx="4">
                  <c:v>0.07629371006511257</c:v>
                </c:pt>
                <c:pt idx="5">
                  <c:v>0.02055324803874132</c:v>
                </c:pt>
                <c:pt idx="6">
                  <c:v>0.000504194011594103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8923069807395498</c:v>
                </c:pt>
                <c:pt idx="4">
                  <c:v>0.023545636292204814</c:v>
                </c:pt>
                <c:pt idx="5">
                  <c:v>0.00186166973543798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8797458148500864</c:v>
                </c:pt>
                <c:pt idx="3">
                  <c:v>0.007238056330817469</c:v>
                </c:pt>
                <c:pt idx="4">
                  <c:v>0.00842014818222717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5231306485278324</c:v>
                </c:pt>
                <c:pt idx="2">
                  <c:v>0.02441702354816065</c:v>
                </c:pt>
                <c:pt idx="3">
                  <c:v>0.01216518722958941</c:v>
                </c:pt>
                <c:pt idx="4">
                  <c:v>0.027929423572822677</c:v>
                </c:pt>
                <c:pt idx="5">
                  <c:v>0.02389621109411509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123258798760101</c:v>
                </c:pt>
                <c:pt idx="3">
                  <c:v>0.0019586700359540744</c:v>
                </c:pt>
                <c:pt idx="4">
                  <c:v>0.008272223513935096</c:v>
                </c:pt>
                <c:pt idx="5">
                  <c:v>0.005343702205152186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0544542834714</c:v>
                </c:pt>
                <c:pt idx="2">
                  <c:v>0.0061777956607306376</c:v>
                </c:pt>
                <c:pt idx="3">
                  <c:v>0.03132045653779751</c:v>
                </c:pt>
                <c:pt idx="4">
                  <c:v>0.07648025369734593</c:v>
                </c:pt>
                <c:pt idx="5">
                  <c:v>0.0072382121959109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6087397682893296</c:v>
                </c:pt>
                <c:pt idx="5">
                  <c:v>0.000707514839873590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555444775079665</c:v>
                </c:pt>
                <c:pt idx="1">
                  <c:v>0.0009111301190165836</c:v>
                </c:pt>
                <c:pt idx="2">
                  <c:v>0.029634691884615583</c:v>
                </c:pt>
                <c:pt idx="3">
                  <c:v>0.04444380657095802</c:v>
                </c:pt>
                <c:pt idx="4">
                  <c:v>0.14788680239537355</c:v>
                </c:pt>
                <c:pt idx="5">
                  <c:v>0.1188233613904922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1698957053115312</c:v>
                </c:pt>
                <c:pt idx="1">
                  <c:v>0.00961287163573792</c:v>
                </c:pt>
                <c:pt idx="2">
                  <c:v>0.04006531456570371</c:v>
                </c:pt>
                <c:pt idx="3">
                  <c:v>0.10546889278832428</c:v>
                </c:pt>
                <c:pt idx="4">
                  <c:v>0.048722940153501815</c:v>
                </c:pt>
                <c:pt idx="5">
                  <c:v>0.0024577397925069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1467372489502318</c:v>
                </c:pt>
                <c:pt idx="4">
                  <c:v>0.40434163622424507</c:v>
                </c:pt>
                <c:pt idx="5">
                  <c:v>0.182876614725568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035581424737843</c:v>
                </c:pt>
                <c:pt idx="3">
                  <c:v>0.020398883833112405</c:v>
                </c:pt>
                <c:pt idx="4">
                  <c:v>0.08016605913363453</c:v>
                </c:pt>
                <c:pt idx="5">
                  <c:v>0.027395888917008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8764979352415567</c:v>
                </c:pt>
                <c:pt idx="4">
                  <c:v>0.023156157271566582</c:v>
                </c:pt>
                <c:pt idx="5">
                  <c:v>0.00306520133553436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123258798760101</c:v>
                </c:pt>
                <c:pt idx="3">
                  <c:v>0.0019586700359540744</c:v>
                </c:pt>
                <c:pt idx="4">
                  <c:v>0.008880963282224425</c:v>
                </c:pt>
                <c:pt idx="5">
                  <c:v>0.0060512170450257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600061494483101</c:v>
                </c:pt>
                <c:pt idx="2">
                  <c:v>0.009581950434503375</c:v>
                </c:pt>
                <c:pt idx="3">
                  <c:v>0.011534109502951074</c:v>
                </c:pt>
                <c:pt idx="4">
                  <c:v>0.017990798824674276</c:v>
                </c:pt>
                <c:pt idx="5">
                  <c:v>0.010060871097537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1926492326954012</c:v>
                </c:pt>
                <c:pt idx="3">
                  <c:v>0.0021819403811060714</c:v>
                </c:pt>
                <c:pt idx="4">
                  <c:v>0.004897013297203325</c:v>
                </c:pt>
                <c:pt idx="5">
                  <c:v>0.002325901151710682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4411559082941848</c:v>
                </c:pt>
                <c:pt idx="2">
                  <c:v>0.00514736476321821</c:v>
                </c:pt>
                <c:pt idx="3">
                  <c:v>0.02107416756808355</c:v>
                </c:pt>
                <c:pt idx="4">
                  <c:v>0.03964454224038292</c:v>
                </c:pt>
                <c:pt idx="5">
                  <c:v>0.003574683288852867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288173967045865</c:v>
                </c:pt>
                <c:pt idx="3">
                  <c:v>0.020196006316433767</c:v>
                </c:pt>
                <c:pt idx="4">
                  <c:v>0.05768902952344277</c:v>
                </c:pt>
                <c:pt idx="5">
                  <c:v>0.0614614639691918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1222133820696893</c:v>
                </c:pt>
                <c:pt idx="4">
                  <c:v>0.0007242218445557465</c:v>
                </c:pt>
                <c:pt idx="5">
                  <c:v>0.021727285870610336</c:v>
                </c:pt>
                <c:pt idx="6">
                  <c:v>0.00052239093356365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342844134416363</c:v>
                </c:pt>
                <c:pt idx="1">
                  <c:v>0.007714405302086917</c:v>
                </c:pt>
                <c:pt idx="2">
                  <c:v>0.02587979561052652</c:v>
                </c:pt>
                <c:pt idx="3">
                  <c:v>0.05305898194093427</c:v>
                </c:pt>
                <c:pt idx="4">
                  <c:v>0.021555776923989845</c:v>
                </c:pt>
                <c:pt idx="5">
                  <c:v>0.001580502375045553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70581273277837185</c:v>
                </c:pt>
                <c:pt idx="3">
                  <c:v>0.014310884614693053</c:v>
                </c:pt>
                <c:pt idx="4">
                  <c:v>0.03859406222179105</c:v>
                </c:pt>
                <c:pt idx="5">
                  <c:v>0.0072883989963142565</c:v>
                </c:pt>
                <c:pt idx="6">
                  <c:v>0.002014492115186390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98905877482343</c:v>
                </c:pt>
                <c:pt idx="4">
                  <c:v>0.012824734422915283</c:v>
                </c:pt>
                <c:pt idx="5">
                  <c:v>0.001262867471829723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7963701676534166</c:v>
                </c:pt>
                <c:pt idx="2">
                  <c:v>0.0010201826372318965</c:v>
                </c:pt>
                <c:pt idx="3">
                  <c:v>0.03066627222587233</c:v>
                </c:pt>
                <c:pt idx="4">
                  <c:v>0.035662555039106446</c:v>
                </c:pt>
                <c:pt idx="5">
                  <c:v>0.00128624752962223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789113093873775</c:v>
                </c:pt>
                <c:pt idx="2">
                  <c:v>0.01869235590890642</c:v>
                </c:pt>
                <c:pt idx="3">
                  <c:v>0.014973046853693918</c:v>
                </c:pt>
                <c:pt idx="4">
                  <c:v>0.0296352790263233</c:v>
                </c:pt>
                <c:pt idx="5">
                  <c:v>0.016049321926581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7321710699480095</c:v>
                </c:pt>
                <c:pt idx="2">
                  <c:v>0.005167568932872345</c:v>
                </c:pt>
                <c:pt idx="3">
                  <c:v>0.0038081791029285724</c:v>
                </c:pt>
                <c:pt idx="4">
                  <c:v>0.005849554403479396</c:v>
                </c:pt>
                <c:pt idx="5">
                  <c:v>0.001108433225674986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039309365006413</c:v>
                </c:pt>
                <c:pt idx="2">
                  <c:v>0.004791662941317081</c:v>
                </c:pt>
                <c:pt idx="3">
                  <c:v>0.0354061821339793</c:v>
                </c:pt>
                <c:pt idx="4">
                  <c:v>0.06278721437539245</c:v>
                </c:pt>
                <c:pt idx="5">
                  <c:v>0.0065999730681890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823359443441819</c:v>
                </c:pt>
                <c:pt idx="1">
                  <c:v>0.0026845897198844925</c:v>
                </c:pt>
                <c:pt idx="2">
                  <c:v>0.028073858028257813</c:v>
                </c:pt>
                <c:pt idx="3">
                  <c:v>0.03713326433375281</c:v>
                </c:pt>
                <c:pt idx="4">
                  <c:v>0.1116906721112513</c:v>
                </c:pt>
                <c:pt idx="5">
                  <c:v>0.1118097055843384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2376604047324943</c:v>
                </c:pt>
                <c:pt idx="1">
                  <c:v>0.012775790887461126</c:v>
                </c:pt>
                <c:pt idx="2">
                  <c:v>0.04090685169043861</c:v>
                </c:pt>
                <c:pt idx="3">
                  <c:v>0.09382667552498151</c:v>
                </c:pt>
                <c:pt idx="4">
                  <c:v>0.03991363997994867</c:v>
                </c:pt>
                <c:pt idx="5">
                  <c:v>0.00183048163913846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387279546934154</c:v>
                </c:pt>
                <c:pt idx="3">
                  <c:v>0.023868557174213642</c:v>
                </c:pt>
                <c:pt idx="4">
                  <c:v>0.07629371006511257</c:v>
                </c:pt>
                <c:pt idx="5">
                  <c:v>0.02055324803874132</c:v>
                </c:pt>
                <c:pt idx="6">
                  <c:v>0.000504194011594103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8923069807395498</c:v>
                </c:pt>
                <c:pt idx="4">
                  <c:v>0.023545636292204814</c:v>
                </c:pt>
                <c:pt idx="5">
                  <c:v>0.00186166973543798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8797458148500864</c:v>
                </c:pt>
                <c:pt idx="3">
                  <c:v>0.007238056330817469</c:v>
                </c:pt>
                <c:pt idx="4">
                  <c:v>0.00842014818222717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5231306485278324</c:v>
                </c:pt>
                <c:pt idx="2">
                  <c:v>0.02441702354816065</c:v>
                </c:pt>
                <c:pt idx="3">
                  <c:v>0.01216518722958941</c:v>
                </c:pt>
                <c:pt idx="4">
                  <c:v>0.027929423572822677</c:v>
                </c:pt>
                <c:pt idx="5">
                  <c:v>0.02389621109411509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683486752821</c:v>
                </c:pt>
                <c:pt idx="2">
                  <c:v>0.008070268211894027</c:v>
                </c:pt>
                <c:pt idx="3">
                  <c:v>0.0008946847644719398</c:v>
                </c:pt>
                <c:pt idx="4">
                  <c:v>0.008742820588310812</c:v>
                </c:pt>
                <c:pt idx="5">
                  <c:v>0.00156398152688262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0544542834714</c:v>
                </c:pt>
                <c:pt idx="2">
                  <c:v>0.0061777956607306376</c:v>
                </c:pt>
                <c:pt idx="3">
                  <c:v>0.03132045653779751</c:v>
                </c:pt>
                <c:pt idx="4">
                  <c:v>0.07648025369734593</c:v>
                </c:pt>
                <c:pt idx="5">
                  <c:v>0.0072382121959109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555444775079665</c:v>
                </c:pt>
                <c:pt idx="1">
                  <c:v>0.0009111301190165836</c:v>
                </c:pt>
                <c:pt idx="2">
                  <c:v>0.029634691884615583</c:v>
                </c:pt>
                <c:pt idx="3">
                  <c:v>0.04444380657095802</c:v>
                </c:pt>
                <c:pt idx="4">
                  <c:v>0.14788680239537355</c:v>
                </c:pt>
                <c:pt idx="5">
                  <c:v>0.1188233613904922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1698957053115312</c:v>
                </c:pt>
                <c:pt idx="1">
                  <c:v>0.00961287163573792</c:v>
                </c:pt>
                <c:pt idx="2">
                  <c:v>0.04006531456570371</c:v>
                </c:pt>
                <c:pt idx="3">
                  <c:v>0.10546889278832428</c:v>
                </c:pt>
                <c:pt idx="4">
                  <c:v>0.048722940153501815</c:v>
                </c:pt>
                <c:pt idx="5">
                  <c:v>0.0024577397925069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035581424737843</c:v>
                </c:pt>
                <c:pt idx="3">
                  <c:v>0.020398883833112405</c:v>
                </c:pt>
                <c:pt idx="4">
                  <c:v>0.08016605913363453</c:v>
                </c:pt>
                <c:pt idx="5">
                  <c:v>0.027395888917008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59309643722107</c:v>
                </c:pt>
                <c:pt idx="1">
                  <c:v>0.029594443679239066</c:v>
                </c:pt>
                <c:pt idx="2">
                  <c:v>0.10199922394050571</c:v>
                </c:pt>
                <c:pt idx="3">
                  <c:v>0.20610003300136073</c:v>
                </c:pt>
                <c:pt idx="4">
                  <c:v>0.3438661518502331</c:v>
                </c:pt>
                <c:pt idx="5">
                  <c:v>0.15870439999242653</c:v>
                </c:pt>
                <c:pt idx="6">
                  <c:v>0.00054704424142411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8764979352415567</c:v>
                </c:pt>
                <c:pt idx="4">
                  <c:v>0.023156157271566582</c:v>
                </c:pt>
                <c:pt idx="5">
                  <c:v>0.00306520133553436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600061494483101</c:v>
                </c:pt>
                <c:pt idx="2">
                  <c:v>0.009581950434503375</c:v>
                </c:pt>
                <c:pt idx="3">
                  <c:v>0.011534109502951074</c:v>
                </c:pt>
                <c:pt idx="4">
                  <c:v>0.017990798824674276</c:v>
                </c:pt>
                <c:pt idx="5">
                  <c:v>0.010060871097537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600061494483101</c:v>
                </c:pt>
                <c:pt idx="2">
                  <c:v>0.004039697679737115</c:v>
                </c:pt>
                <c:pt idx="3">
                  <c:v>0.0015297670711260558</c:v>
                </c:pt>
                <c:pt idx="4">
                  <c:v>0.00509699584879870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4411559082941848</c:v>
                </c:pt>
                <c:pt idx="2">
                  <c:v>0.00514736476321821</c:v>
                </c:pt>
                <c:pt idx="3">
                  <c:v>0.02107416756808355</c:v>
                </c:pt>
                <c:pt idx="4">
                  <c:v>0.03964454224038292</c:v>
                </c:pt>
                <c:pt idx="5">
                  <c:v>0.003574683288852867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288173967045865</c:v>
                </c:pt>
                <c:pt idx="3">
                  <c:v>0.020196006316433767</c:v>
                </c:pt>
                <c:pt idx="4">
                  <c:v>0.05768902952344277</c:v>
                </c:pt>
                <c:pt idx="5">
                  <c:v>0.0614614639691918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342844134416363</c:v>
                </c:pt>
                <c:pt idx="1">
                  <c:v>0.007714405302086917</c:v>
                </c:pt>
                <c:pt idx="2">
                  <c:v>0.02587979561052652</c:v>
                </c:pt>
                <c:pt idx="3">
                  <c:v>0.05305898194093427</c:v>
                </c:pt>
                <c:pt idx="4">
                  <c:v>0.021555776923989845</c:v>
                </c:pt>
                <c:pt idx="5">
                  <c:v>0.001580502375045553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70581273277837185</c:v>
                </c:pt>
                <c:pt idx="3">
                  <c:v>0.014310884614693053</c:v>
                </c:pt>
                <c:pt idx="4">
                  <c:v>0.03859406222179105</c:v>
                </c:pt>
                <c:pt idx="5">
                  <c:v>0.0072883989963142565</c:v>
                </c:pt>
                <c:pt idx="6">
                  <c:v>0.002014492115186390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98905877482343</c:v>
                </c:pt>
                <c:pt idx="4">
                  <c:v>0.012824734422915283</c:v>
                </c:pt>
                <c:pt idx="5">
                  <c:v>0.001262867471829723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7963701676534166</c:v>
                </c:pt>
                <c:pt idx="2">
                  <c:v>0.0010201826372318965</c:v>
                </c:pt>
                <c:pt idx="3">
                  <c:v>0.03066627222587233</c:v>
                </c:pt>
                <c:pt idx="4">
                  <c:v>0.035662555039106446</c:v>
                </c:pt>
                <c:pt idx="5">
                  <c:v>0.00128624752962223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789113093873775</c:v>
                </c:pt>
                <c:pt idx="2">
                  <c:v>0.01869235590890642</c:v>
                </c:pt>
                <c:pt idx="3">
                  <c:v>0.014973046853693918</c:v>
                </c:pt>
                <c:pt idx="4">
                  <c:v>0.0296352790263233</c:v>
                </c:pt>
                <c:pt idx="5">
                  <c:v>0.016049321926581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039309365006413</c:v>
                </c:pt>
                <c:pt idx="2">
                  <c:v>0.004791662941317081</c:v>
                </c:pt>
                <c:pt idx="3">
                  <c:v>0.0354061821339793</c:v>
                </c:pt>
                <c:pt idx="4">
                  <c:v>0.06278721437539245</c:v>
                </c:pt>
                <c:pt idx="5">
                  <c:v>0.0065999730681890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1340306491206915</c:v>
                </c:pt>
                <c:pt idx="4">
                  <c:v>0.006839894304647583</c:v>
                </c:pt>
                <c:pt idx="5">
                  <c:v>0.001622687347215981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823359443441819</c:v>
                </c:pt>
                <c:pt idx="1">
                  <c:v>0.0026845897198844925</c:v>
                </c:pt>
                <c:pt idx="2">
                  <c:v>0.028073858028257813</c:v>
                </c:pt>
                <c:pt idx="3">
                  <c:v>0.03713326433375281</c:v>
                </c:pt>
                <c:pt idx="4">
                  <c:v>0.1116906721112513</c:v>
                </c:pt>
                <c:pt idx="5">
                  <c:v>0.1118097055843384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0675923378257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2376604047324943</c:v>
                </c:pt>
                <c:pt idx="1">
                  <c:v>0.012775790887461126</c:v>
                </c:pt>
                <c:pt idx="2">
                  <c:v>0.04090685169043861</c:v>
                </c:pt>
                <c:pt idx="3">
                  <c:v>0.09382667552498151</c:v>
                </c:pt>
                <c:pt idx="4">
                  <c:v>0.03991363997994867</c:v>
                </c:pt>
                <c:pt idx="5">
                  <c:v>0.00183048163913846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422571040575574</c:v>
                </c:pt>
                <c:pt idx="1">
                  <c:v>0.014086662505124735</c:v>
                </c:pt>
                <c:pt idx="2">
                  <c:v>0.06055440753359181</c:v>
                </c:pt>
                <c:pt idx="3">
                  <c:v>0.12087305582057806</c:v>
                </c:pt>
                <c:pt idx="4">
                  <c:v>0.18829894415719614</c:v>
                </c:pt>
                <c:pt idx="5">
                  <c:v>0.0852287871987718</c:v>
                </c:pt>
                <c:pt idx="6">
                  <c:v>0.00203769311044131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387279546934154</c:v>
                </c:pt>
                <c:pt idx="3">
                  <c:v>0.023868557174213642</c:v>
                </c:pt>
                <c:pt idx="4">
                  <c:v>0.07629371006511257</c:v>
                </c:pt>
                <c:pt idx="5">
                  <c:v>0.02055324803874132</c:v>
                </c:pt>
                <c:pt idx="6">
                  <c:v>0.000504194011594103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8923069807395498</c:v>
                </c:pt>
                <c:pt idx="4">
                  <c:v>0.023545636292204814</c:v>
                </c:pt>
                <c:pt idx="5">
                  <c:v>0.00186166973543798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8797458148500864</c:v>
                </c:pt>
                <c:pt idx="3">
                  <c:v>0.007238056330817469</c:v>
                </c:pt>
                <c:pt idx="4">
                  <c:v>0.00842014818222717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1926492326954012</c:v>
                </c:pt>
                <c:pt idx="3">
                  <c:v>0.0021819403811060714</c:v>
                </c:pt>
                <c:pt idx="4">
                  <c:v>0.004899049100515293</c:v>
                </c:pt>
                <c:pt idx="5">
                  <c:v>0.002803493997158453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5231306485278324</c:v>
                </c:pt>
                <c:pt idx="2">
                  <c:v>0.02441702354816065</c:v>
                </c:pt>
                <c:pt idx="3">
                  <c:v>0.01216518722958941</c:v>
                </c:pt>
                <c:pt idx="4">
                  <c:v>0.027929423572822677</c:v>
                </c:pt>
                <c:pt idx="5">
                  <c:v>0.02389621109411509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00544542834714</c:v>
                </c:pt>
                <c:pt idx="2">
                  <c:v>0.0061777956607306376</c:v>
                </c:pt>
                <c:pt idx="3">
                  <c:v>0.03132045653779751</c:v>
                </c:pt>
                <c:pt idx="4">
                  <c:v>0.07648025369734593</c:v>
                </c:pt>
                <c:pt idx="5">
                  <c:v>0.0072382121959109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3569573067529505</c:v>
                </c:pt>
                <c:pt idx="4">
                  <c:v>0.008724749571436376</c:v>
                </c:pt>
                <c:pt idx="5">
                  <c:v>0.001940320211556060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555444775079665</c:v>
                </c:pt>
                <c:pt idx="1">
                  <c:v>0.0009111301190165836</c:v>
                </c:pt>
                <c:pt idx="2">
                  <c:v>0.029634691884615583</c:v>
                </c:pt>
                <c:pt idx="3">
                  <c:v>0.04444380657095802</c:v>
                </c:pt>
                <c:pt idx="4">
                  <c:v>0.14788680239537355</c:v>
                </c:pt>
                <c:pt idx="5">
                  <c:v>0.1188233613904922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67742747210344</c:v>
                </c:pt>
                <c:pt idx="4">
                  <c:v>0.0007053603932603407</c:v>
                </c:pt>
                <c:pt idx="5">
                  <c:v>0.01320578225771187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553042603771280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1698957053115312</c:v>
                </c:pt>
                <c:pt idx="1">
                  <c:v>0.00961287163573792</c:v>
                </c:pt>
                <c:pt idx="2">
                  <c:v>0.04006531456570371</c:v>
                </c:pt>
                <c:pt idx="3">
                  <c:v>0.10546889278832428</c:v>
                </c:pt>
                <c:pt idx="4">
                  <c:v>0.048722940153501815</c:v>
                </c:pt>
                <c:pt idx="5">
                  <c:v>0.0024577397925069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035581424737843</c:v>
                </c:pt>
                <c:pt idx="3">
                  <c:v>0.020398883833112405</c:v>
                </c:pt>
                <c:pt idx="4">
                  <c:v>0.08016605913363453</c:v>
                </c:pt>
                <c:pt idx="5">
                  <c:v>0.027395888917008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8764979352415567</c:v>
                </c:pt>
                <c:pt idx="4">
                  <c:v>0.023156157271566582</c:v>
                </c:pt>
                <c:pt idx="5">
                  <c:v>0.00306520133553436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600061494483101</c:v>
                </c:pt>
                <c:pt idx="2">
                  <c:v>0.009581950434503375</c:v>
                </c:pt>
                <c:pt idx="3">
                  <c:v>0.011534109502951074</c:v>
                </c:pt>
                <c:pt idx="4">
                  <c:v>0.017990798824674276</c:v>
                </c:pt>
                <c:pt idx="5">
                  <c:v>0.010060871097537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4411559082941848</c:v>
                </c:pt>
                <c:pt idx="2">
                  <c:v>0.00514736476321821</c:v>
                </c:pt>
                <c:pt idx="3">
                  <c:v>0.02107416756808355</c:v>
                </c:pt>
                <c:pt idx="4">
                  <c:v>0.03964454224038292</c:v>
                </c:pt>
                <c:pt idx="5">
                  <c:v>0.003574683288852867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100975654191827</c:v>
                </c:pt>
                <c:pt idx="3">
                  <c:v>0.009752891797310165</c:v>
                </c:pt>
                <c:pt idx="4">
                  <c:v>0.01073309114730268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1640211301618</c:v>
                </c:pt>
                <c:pt idx="4">
                  <c:v>0.0055698091018969945</c:v>
                </c:pt>
                <c:pt idx="5">
                  <c:v>0.001569720055474455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288173967045865</c:v>
                </c:pt>
                <c:pt idx="3">
                  <c:v>0.020196006316433767</c:v>
                </c:pt>
                <c:pt idx="4">
                  <c:v>0.05768902952344277</c:v>
                </c:pt>
                <c:pt idx="5">
                  <c:v>0.0614614639691918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212708663882203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342844134416363</c:v>
                </c:pt>
                <c:pt idx="1">
                  <c:v>0.007714405302086917</c:v>
                </c:pt>
                <c:pt idx="2">
                  <c:v>0.02587979561052652</c:v>
                </c:pt>
                <c:pt idx="3">
                  <c:v>0.05305898194093427</c:v>
                </c:pt>
                <c:pt idx="4">
                  <c:v>0.021555776923989845</c:v>
                </c:pt>
                <c:pt idx="5">
                  <c:v>0.001580502375045553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70581273277837185</c:v>
                </c:pt>
                <c:pt idx="3">
                  <c:v>0.014310884614693053</c:v>
                </c:pt>
                <c:pt idx="4">
                  <c:v>0.03859406222179105</c:v>
                </c:pt>
                <c:pt idx="5">
                  <c:v>0.0072883989963142565</c:v>
                </c:pt>
                <c:pt idx="6">
                  <c:v>0.002014492115186390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98905877482343</c:v>
                </c:pt>
                <c:pt idx="4">
                  <c:v>0.012824734422915283</c:v>
                </c:pt>
                <c:pt idx="5">
                  <c:v>0.001262867471829723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7963701676534166</c:v>
                </c:pt>
                <c:pt idx="2">
                  <c:v>0.0010201826372318965</c:v>
                </c:pt>
                <c:pt idx="3">
                  <c:v>0.03066627222587233</c:v>
                </c:pt>
                <c:pt idx="4">
                  <c:v>0.035662555039106446</c:v>
                </c:pt>
                <c:pt idx="5">
                  <c:v>0.00128624752962223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4548842588316658</c:v>
                </c:pt>
                <c:pt idx="3">
                  <c:v>0.002358121499940534</c:v>
                </c:pt>
                <c:pt idx="4">
                  <c:v>0.008125951244983012</c:v>
                </c:pt>
                <c:pt idx="5">
                  <c:v>0.00401291823705098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59309643722107</c:v>
                </c:pt>
                <c:pt idx="1">
                  <c:v>0.029594443679239066</c:v>
                </c:pt>
                <c:pt idx="2">
                  <c:v>0.10199922394050571</c:v>
                </c:pt>
                <c:pt idx="3">
                  <c:v>0.20610003300136073</c:v>
                </c:pt>
                <c:pt idx="4">
                  <c:v>0.3438661518502331</c:v>
                </c:pt>
                <c:pt idx="5">
                  <c:v>0.15870439999242653</c:v>
                </c:pt>
                <c:pt idx="6">
                  <c:v>0.00054704424142411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7321710699480095</c:v>
                </c:pt>
                <c:pt idx="2">
                  <c:v>0.005167568932872345</c:v>
                </c:pt>
                <c:pt idx="3">
                  <c:v>0.0038081791029285724</c:v>
                </c:pt>
                <c:pt idx="4">
                  <c:v>0.005849554403479396</c:v>
                </c:pt>
                <c:pt idx="5">
                  <c:v>0.001108433225674986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277765183550575</c:v>
                </c:pt>
                <c:pt idx="4">
                  <c:v>0.0007963156001049562</c:v>
                </c:pt>
                <c:pt idx="5">
                  <c:v>0.0173385087944862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302237924024085</c:v>
                </c:pt>
                <c:pt idx="4">
                  <c:v>0.002534522891412186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277765183550575</c:v>
                </c:pt>
                <c:pt idx="4">
                  <c:v>0.0007963156001049562</c:v>
                </c:pt>
                <c:pt idx="5">
                  <c:v>0.0173385087944862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1467372489502318</c:v>
                </c:pt>
                <c:pt idx="4">
                  <c:v>0.40434163622424507</c:v>
                </c:pt>
                <c:pt idx="5">
                  <c:v>0.182876614725568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683486752821</c:v>
                </c:pt>
                <c:pt idx="2">
                  <c:v>0.008070268211894027</c:v>
                </c:pt>
                <c:pt idx="3">
                  <c:v>0.0008946847644719398</c:v>
                </c:pt>
                <c:pt idx="4">
                  <c:v>0.008742820588310812</c:v>
                </c:pt>
                <c:pt idx="5">
                  <c:v>0.00156398152688262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1222133820696893</c:v>
                </c:pt>
                <c:pt idx="4">
                  <c:v>0.0007242218445557465</c:v>
                </c:pt>
                <c:pt idx="5">
                  <c:v>0.021727285870610336</c:v>
                </c:pt>
                <c:pt idx="6">
                  <c:v>0.00052239093356365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422571040575574</c:v>
                </c:pt>
                <c:pt idx="1">
                  <c:v>0.014086662505124735</c:v>
                </c:pt>
                <c:pt idx="2">
                  <c:v>0.06055440753359181</c:v>
                </c:pt>
                <c:pt idx="3">
                  <c:v>0.12087305582057806</c:v>
                </c:pt>
                <c:pt idx="4">
                  <c:v>0.18829894415719614</c:v>
                </c:pt>
                <c:pt idx="5">
                  <c:v>0.0852287871987718</c:v>
                </c:pt>
                <c:pt idx="6">
                  <c:v>0.00203769311044131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600061494483101</c:v>
                </c:pt>
                <c:pt idx="2">
                  <c:v>0.004039697679737115</c:v>
                </c:pt>
                <c:pt idx="3">
                  <c:v>0.0015297670711260558</c:v>
                </c:pt>
                <c:pt idx="4">
                  <c:v>0.00509699584879870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67742747210344</c:v>
                </c:pt>
                <c:pt idx="4">
                  <c:v>0.0007053603932603407</c:v>
                </c:pt>
                <c:pt idx="5">
                  <c:v>0.01320578225771187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302237924024085</c:v>
                </c:pt>
                <c:pt idx="4">
                  <c:v>0.002534522891412186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100975654191827</c:v>
                </c:pt>
                <c:pt idx="3">
                  <c:v>0.009752891797310165</c:v>
                </c:pt>
                <c:pt idx="4">
                  <c:v>0.01073309114730268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3</c:v>
                </c:pt>
                <c:pt idx="2">
                  <c:v>0.1170921741973009</c:v>
                </c:pt>
                <c:pt idx="3">
                  <c:v>0.2446573461112286</c:v>
                </c:pt>
                <c:pt idx="4">
                  <c:v>0.3932089346459882</c:v>
                </c:pt>
                <c:pt idx="5">
                  <c:v>0.19339064677164639</c:v>
                </c:pt>
                <c:pt idx="6">
                  <c:v>0.001125653678854936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59309643722107</c:v>
                </c:pt>
                <c:pt idx="1">
                  <c:v>0.029594443679239066</c:v>
                </c:pt>
                <c:pt idx="2">
                  <c:v>0.10199922394050571</c:v>
                </c:pt>
                <c:pt idx="3">
                  <c:v>0.20610003300136073</c:v>
                </c:pt>
                <c:pt idx="4">
                  <c:v>0.3438661518502331</c:v>
                </c:pt>
                <c:pt idx="5">
                  <c:v>0.15870439999242653</c:v>
                </c:pt>
                <c:pt idx="6">
                  <c:v>0.00054704424142411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1340306491206915</c:v>
                </c:pt>
                <c:pt idx="4">
                  <c:v>0.006839894304647583</c:v>
                </c:pt>
                <c:pt idx="5">
                  <c:v>0.00469027968504172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7277765183550575</c:v>
                </c:pt>
                <c:pt idx="4">
                  <c:v>0.0007963156001049562</c:v>
                </c:pt>
                <c:pt idx="5">
                  <c:v>0.0173385087944862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13814509235149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302237924024085</c:v>
                </c:pt>
                <c:pt idx="4">
                  <c:v>0.002534522891412186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1467372489502318</c:v>
                </c:pt>
                <c:pt idx="4">
                  <c:v>0.40434163622424507</c:v>
                </c:pt>
                <c:pt idx="5">
                  <c:v>0.1828766147255685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3569573067529505</c:v>
                </c:pt>
                <c:pt idx="4">
                  <c:v>0.008724749571436376</c:v>
                </c:pt>
                <c:pt idx="5">
                  <c:v>0.0074707462492688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1222133820696893</c:v>
                </c:pt>
                <c:pt idx="4">
                  <c:v>0.0007242218445557465</c:v>
                </c:pt>
                <c:pt idx="5">
                  <c:v>0.021727285870610336</c:v>
                </c:pt>
                <c:pt idx="6">
                  <c:v>0.00052239093356365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4420977982501233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9</c:v>
                </c:pt>
                <c:pt idx="1">
                  <c:v>0.07212740666489884</c:v>
                </c:pt>
                <c:pt idx="2">
                  <c:v>0.1244892210123695</c:v>
                </c:pt>
                <c:pt idx="3">
                  <c:v>0.2247023112171972</c:v>
                </c:pt>
                <c:pt idx="4">
                  <c:v>0.38898127765908425</c:v>
                </c:pt>
                <c:pt idx="5">
                  <c:v>0.169391846515174</c:v>
                </c:pt>
                <c:pt idx="6">
                  <c:v>0.00388708956597111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422571040575574</c:v>
                </c:pt>
                <c:pt idx="1">
                  <c:v>0.014086662505124735</c:v>
                </c:pt>
                <c:pt idx="2">
                  <c:v>0.06055440753359181</c:v>
                </c:pt>
                <c:pt idx="3">
                  <c:v>0.12087305582057806</c:v>
                </c:pt>
                <c:pt idx="4">
                  <c:v>0.18829894415719614</c:v>
                </c:pt>
                <c:pt idx="5">
                  <c:v>0.0852287871987718</c:v>
                </c:pt>
                <c:pt idx="6">
                  <c:v>0.00203769311044131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1640211301618</c:v>
                </c:pt>
                <c:pt idx="4">
                  <c:v>0.0055698091018969945</c:v>
                </c:pt>
                <c:pt idx="5">
                  <c:v>0.003696806694296493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67742747210344</c:v>
                </c:pt>
                <c:pt idx="4">
                  <c:v>0.0007053603932603407</c:v>
                </c:pt>
                <c:pt idx="5">
                  <c:v>0.01320578225771187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245343205295290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100975654191827</c:v>
                </c:pt>
                <c:pt idx="3">
                  <c:v>0.009752891797310165</c:v>
                </c:pt>
                <c:pt idx="4">
                  <c:v>0.01073309114730268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170943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5206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418434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6183732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29914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146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27575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821974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343341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009194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70690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149333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9638385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707817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86919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7046740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7546789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2839246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8258888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7169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14526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329094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115463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29797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186857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1549244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59244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